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4" r:id="rId2"/>
  </p:sldMasterIdLst>
  <p:notesMasterIdLst>
    <p:notesMasterId r:id="rId13"/>
  </p:notesMasterIdLst>
  <p:handoutMasterIdLst>
    <p:handoutMasterId r:id="rId14"/>
  </p:handoutMasterIdLst>
  <p:sldIdLst>
    <p:sldId id="257" r:id="rId3"/>
    <p:sldId id="427" r:id="rId4"/>
    <p:sldId id="428" r:id="rId5"/>
    <p:sldId id="429" r:id="rId6"/>
    <p:sldId id="430" r:id="rId7"/>
    <p:sldId id="431" r:id="rId8"/>
    <p:sldId id="433" r:id="rId9"/>
    <p:sldId id="434" r:id="rId10"/>
    <p:sldId id="436" r:id="rId11"/>
    <p:sldId id="435" r:id="rId12"/>
  </p:sldIdLst>
  <p:sldSz cx="9144000" cy="6858000" type="screen4x3"/>
  <p:notesSz cx="6797675" cy="9928225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92D050"/>
    <a:srgbClr val="008238"/>
    <a:srgbClr val="0066FF"/>
    <a:srgbClr val="006600"/>
    <a:srgbClr val="080800"/>
    <a:srgbClr val="003300"/>
    <a:srgbClr val="00CC66"/>
    <a:srgbClr val="99CCFF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279" autoAdjust="0"/>
    <p:restoredTop sz="90726" autoAdjust="0"/>
  </p:normalViewPr>
  <p:slideViewPr>
    <p:cSldViewPr>
      <p:cViewPr varScale="1">
        <p:scale>
          <a:sx n="74" d="100"/>
          <a:sy n="74" d="100"/>
        </p:scale>
        <p:origin x="-1530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1332"/>
    </p:cViewPr>
  </p:sorterViewPr>
  <p:notesViewPr>
    <p:cSldViewPr>
      <p:cViewPr varScale="1">
        <p:scale>
          <a:sx n="82" d="100"/>
          <a:sy n="82" d="100"/>
        </p:scale>
        <p:origin x="397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F044CB-C0E3-4425-A6A7-1B0C443966AD}" type="datetimeFigureOut">
              <a:rPr lang="en-US" smtClean="0"/>
              <a:t>11/1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295E42-DAC2-451B-8B0D-445240921A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581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7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418CB9-2DFD-47F0-B316-6188B89E8A7B}" type="datetimeFigureOut">
              <a:rPr lang="en-IN" smtClean="0"/>
              <a:t>17-11-2016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10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7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E67281-5AD3-4EAB-B2C2-D4FB3B6D4A8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898712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2675" y="866775"/>
            <a:ext cx="4637088" cy="3478213"/>
          </a:xfrm>
          <a:ln/>
        </p:spPr>
      </p:sp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974846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8.jpeg"/><Relationship Id="rId7" Type="http://schemas.openxmlformats.org/officeDocument/2006/relationships/image" Target="../media/image6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gif"/><Relationship Id="rId5" Type="http://schemas.openxmlformats.org/officeDocument/2006/relationships/image" Target="../media/image4.png"/><Relationship Id="rId4" Type="http://schemas.openxmlformats.org/officeDocument/2006/relationships/image" Target="../media/image9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0" y="188640"/>
            <a:ext cx="287338" cy="287338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9032875" y="0"/>
            <a:ext cx="107950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IN" dirty="0">
              <a:solidFill>
                <a:srgbClr val="000000"/>
              </a:solidFill>
            </a:endParaRPr>
          </a:p>
        </p:txBody>
      </p:sp>
      <p:pic>
        <p:nvPicPr>
          <p:cNvPr id="6" name="Picture 6" descr="HDCeme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7013" y="6381750"/>
            <a:ext cx="2159000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48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2159000"/>
            <a:ext cx="7918450" cy="9826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de-DE" noProof="0" smtClean="0"/>
              <a:t>Mastertitelformat bearbeiten</a:t>
            </a:r>
            <a:endParaRPr lang="cs-CZ" noProof="0" smtClean="0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3238500"/>
            <a:ext cx="7916863" cy="1752600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 smtClean="0"/>
              <a:t>Master-Untertitelformat bearbeiten</a:t>
            </a:r>
            <a:endParaRPr lang="cs-CZ" noProof="0" smtClean="0"/>
          </a:p>
        </p:txBody>
      </p:sp>
    </p:spTree>
    <p:extLst>
      <p:ext uri="{BB962C8B-B14F-4D97-AF65-F5344CB8AC3E}">
        <p14:creationId xmlns:p14="http://schemas.microsoft.com/office/powerpoint/2010/main" val="3155053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188640"/>
            <a:ext cx="8097838" cy="6318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6725" y="1152525"/>
            <a:ext cx="8205788" cy="49609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76390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1463" y="358775"/>
            <a:ext cx="2051050" cy="5754688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6725" y="358775"/>
            <a:ext cx="6002338" cy="57546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631216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66725" y="358775"/>
            <a:ext cx="8205788" cy="5754688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Calibri" panose="020F0502020204030204" pitchFamily="34" charset="0"/>
              </a:defRPr>
            </a:lvl1pPr>
            <a:lvl2pPr>
              <a:defRPr sz="1600">
                <a:latin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</a:defRPr>
            </a:lvl3pPr>
            <a:lvl4pPr>
              <a:defRPr sz="1200"/>
            </a:lvl4pPr>
            <a:lvl5pPr>
              <a:defRPr sz="105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635657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"/>
          <p:cNvSpPr>
            <a:spLocks noChangeArrowheads="1"/>
          </p:cNvSpPr>
          <p:nvPr userDrawn="1"/>
        </p:nvSpPr>
        <p:spPr bwMode="auto">
          <a:xfrm>
            <a:off x="0" y="4518026"/>
            <a:ext cx="9028235" cy="1655763"/>
          </a:xfrm>
          <a:prstGeom prst="rect">
            <a:avLst/>
          </a:prstGeom>
          <a:solidFill>
            <a:srgbClr val="E1E1E1"/>
          </a:solidFill>
          <a:ln w="9525">
            <a:solidFill>
              <a:srgbClr val="E1E1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endParaRPr lang="en-US" sz="1108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0" y="358775"/>
            <a:ext cx="287215" cy="28733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23" i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Rectangle 17"/>
          <p:cNvSpPr>
            <a:spLocks noChangeArrowheads="1"/>
          </p:cNvSpPr>
          <p:nvPr/>
        </p:nvSpPr>
        <p:spPr bwMode="auto">
          <a:xfrm>
            <a:off x="467458" y="2095500"/>
            <a:ext cx="7306408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008238"/>
              </a:buClr>
              <a:buSzPct val="70000"/>
              <a:buFont typeface="Wingdings" pitchFamily="2" charset="2"/>
              <a:buNone/>
              <a:defRPr/>
            </a:pPr>
            <a:endParaRPr lang="en-US" sz="1662" b="1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008238"/>
              </a:buClr>
              <a:buSzPct val="70000"/>
              <a:buFont typeface="Wingdings" pitchFamily="2" charset="2"/>
              <a:buNone/>
              <a:defRPr/>
            </a:pPr>
            <a:r>
              <a:rPr lang="en-US" sz="1662" b="1" dirty="0">
                <a:solidFill>
                  <a:srgbClr val="000000"/>
                </a:solidFill>
                <a:cs typeface="Arial" charset="0"/>
              </a:rPr>
              <a:t> 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008238"/>
              </a:buClr>
              <a:buSzPct val="70000"/>
              <a:buFont typeface="Wingdings" pitchFamily="2" charset="2"/>
              <a:buNone/>
              <a:defRPr/>
            </a:pPr>
            <a:r>
              <a:rPr lang="en-US" sz="1662" b="1" dirty="0">
                <a:solidFill>
                  <a:srgbClr val="000000"/>
                </a:solidFill>
                <a:cs typeface="Arial" charset="0"/>
              </a:rPr>
              <a:t> 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008238"/>
              </a:buClr>
              <a:buSzPct val="70000"/>
              <a:buFont typeface="Wingdings" pitchFamily="2" charset="2"/>
              <a:buNone/>
              <a:defRPr/>
            </a:pPr>
            <a:endParaRPr lang="en-US" sz="1662" b="1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008238"/>
              </a:buClr>
              <a:buSzPct val="70000"/>
              <a:buFont typeface="Wingdings" pitchFamily="2" charset="2"/>
              <a:buNone/>
              <a:defRPr/>
            </a:pPr>
            <a:endParaRPr lang="en-US" sz="1662" b="1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008238"/>
              </a:buClr>
              <a:buSzPct val="70000"/>
              <a:buFont typeface="Wingdings" pitchFamily="2" charset="2"/>
              <a:buNone/>
              <a:defRPr/>
            </a:pPr>
            <a:r>
              <a:rPr lang="en-US" sz="1662" b="1" dirty="0">
                <a:solidFill>
                  <a:srgbClr val="000000"/>
                </a:solidFill>
                <a:cs typeface="Arial" charset="0"/>
              </a:rPr>
              <a:t> </a:t>
            </a: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9032631" y="0"/>
            <a:ext cx="108438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23" i="1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23" name="Picture 22" descr="image4.jpg"/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88681" y="4583112"/>
            <a:ext cx="2911015" cy="1526400"/>
          </a:xfrm>
          <a:prstGeom prst="rect">
            <a:avLst/>
          </a:prstGeom>
        </p:spPr>
      </p:pic>
      <p:pic>
        <p:nvPicPr>
          <p:cNvPr id="27" name="Picture 26" descr="image7.jpg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376246" y="4583112"/>
            <a:ext cx="2887754" cy="1526400"/>
          </a:xfrm>
          <a:prstGeom prst="rect">
            <a:avLst/>
          </a:prstGeom>
        </p:spPr>
      </p:pic>
      <p:pic>
        <p:nvPicPr>
          <p:cNvPr id="3741699" name="Picture 3" descr="http://www.italcementigroup.com/NR/rdonlyres/FB5A35AA-96B5-4624-9D7F-BFE61B4D8A10/0/0_i_lab_kmrosso.jpg"/>
          <p:cNvPicPr>
            <a:picLocks noChangeAspect="1" noChangeArrowheads="1"/>
          </p:cNvPicPr>
          <p:nvPr userDrawn="1"/>
        </p:nvPicPr>
        <p:blipFill>
          <a:blip r:embed="rId4" cstate="print"/>
          <a:srcRect b="15085"/>
          <a:stretch>
            <a:fillRect/>
          </a:stretch>
        </p:blipFill>
        <p:spPr bwMode="auto">
          <a:xfrm>
            <a:off x="6430108" y="4583113"/>
            <a:ext cx="2496280" cy="1527175"/>
          </a:xfrm>
          <a:prstGeom prst="rect">
            <a:avLst/>
          </a:prstGeom>
          <a:noFill/>
        </p:spPr>
      </p:pic>
      <p:grpSp>
        <p:nvGrpSpPr>
          <p:cNvPr id="30" name="Group 29"/>
          <p:cNvGrpSpPr/>
          <p:nvPr userDrawn="1"/>
        </p:nvGrpSpPr>
        <p:grpSpPr>
          <a:xfrm>
            <a:off x="5382594" y="6367977"/>
            <a:ext cx="3464735" cy="289594"/>
            <a:chOff x="3169061" y="1500989"/>
            <a:chExt cx="5777981" cy="445794"/>
          </a:xfrm>
        </p:grpSpPr>
        <p:pic>
          <p:nvPicPr>
            <p:cNvPr id="31" name="Picture 30" descr="HeidelbergCement_Logo2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169061" y="1626083"/>
              <a:ext cx="2963645" cy="217465"/>
            </a:xfrm>
            <a:prstGeom prst="rect">
              <a:avLst/>
            </a:prstGeom>
          </p:spPr>
        </p:pic>
        <p:grpSp>
          <p:nvGrpSpPr>
            <p:cNvPr id="32" name="Group 21"/>
            <p:cNvGrpSpPr/>
            <p:nvPr/>
          </p:nvGrpSpPr>
          <p:grpSpPr>
            <a:xfrm>
              <a:off x="6334568" y="1500989"/>
              <a:ext cx="2612474" cy="445794"/>
              <a:chOff x="6341954" y="1176528"/>
              <a:chExt cx="3096614" cy="528408"/>
            </a:xfrm>
          </p:grpSpPr>
          <p:pic>
            <p:nvPicPr>
              <p:cNvPr id="33" name="Picture 4" descr="http://www.itcgr.bravosolution.com/images/logoITC.gif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 l="23561" t="13192" r="11951" b="52926"/>
              <a:stretch>
                <a:fillRect/>
              </a:stretch>
            </p:blipFill>
            <p:spPr bwMode="auto">
              <a:xfrm>
                <a:off x="6781424" y="1180711"/>
                <a:ext cx="2657144" cy="517066"/>
              </a:xfrm>
              <a:prstGeom prst="rect">
                <a:avLst/>
              </a:prstGeom>
              <a:noFill/>
            </p:spPr>
          </p:pic>
          <p:pic>
            <p:nvPicPr>
              <p:cNvPr id="34" name="Picture 6" descr="http://www.investireoggi.it/finanza/files/2013/03/italcementi.jpg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 t="29356" r="74098" b="25784"/>
              <a:stretch>
                <a:fillRect/>
              </a:stretch>
            </p:blipFill>
            <p:spPr bwMode="auto">
              <a:xfrm>
                <a:off x="6341954" y="1176528"/>
                <a:ext cx="446492" cy="528408"/>
              </a:xfrm>
              <a:prstGeom prst="rect">
                <a:avLst/>
              </a:prstGeom>
              <a:noFill/>
            </p:spPr>
          </p:pic>
        </p:grpSp>
      </p:grpSp>
      <p:grpSp>
        <p:nvGrpSpPr>
          <p:cNvPr id="35" name="Group 34"/>
          <p:cNvGrpSpPr/>
          <p:nvPr userDrawn="1"/>
        </p:nvGrpSpPr>
        <p:grpSpPr>
          <a:xfrm>
            <a:off x="460390" y="1193192"/>
            <a:ext cx="2594478" cy="1631123"/>
            <a:chOff x="366209" y="2241748"/>
            <a:chExt cx="2494286" cy="1447506"/>
          </a:xfrm>
        </p:grpSpPr>
        <p:pic>
          <p:nvPicPr>
            <p:cNvPr id="36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66209" y="2241748"/>
              <a:ext cx="651334" cy="14475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7" name="TextBox 36"/>
            <p:cNvSpPr txBox="1"/>
            <p:nvPr/>
          </p:nvSpPr>
          <p:spPr>
            <a:xfrm>
              <a:off x="1097045" y="2943848"/>
              <a:ext cx="1763450" cy="7060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585" b="1" dirty="0" smtClean="0">
                  <a:solidFill>
                    <a:srgbClr val="008238"/>
                  </a:solidFill>
                  <a:cs typeface="Arial" charset="0"/>
                </a:rPr>
                <a:t>GROW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585" b="1" dirty="0" smtClean="0">
                  <a:solidFill>
                    <a:srgbClr val="008238"/>
                  </a:solidFill>
                  <a:cs typeface="Arial" charset="0"/>
                </a:rPr>
                <a:t>TOGETHER</a:t>
              </a:r>
              <a:endParaRPr lang="en-US" sz="2585" b="1" dirty="0">
                <a:solidFill>
                  <a:srgbClr val="008238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213794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30824" y="1152525"/>
            <a:ext cx="8292612" cy="49609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824" y="358776"/>
            <a:ext cx="8292612" cy="631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103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1284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04797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824" y="358776"/>
            <a:ext cx="8292612" cy="6318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9737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824" y="358776"/>
            <a:ext cx="8292612" cy="6318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0364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824" y="358776"/>
            <a:ext cx="8292612" cy="6318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08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188640"/>
            <a:ext cx="8097838" cy="6318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5" y="1152525"/>
            <a:ext cx="8205788" cy="49609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7741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73591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188640"/>
            <a:ext cx="8097838" cy="6318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6725" y="1152525"/>
            <a:ext cx="4025900" cy="49609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152525"/>
            <a:ext cx="4027488" cy="49609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424400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1014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188640"/>
            <a:ext cx="8097838" cy="6318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053529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54220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491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0770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6.jpe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6.xml"/><Relationship Id="rId9" Type="http://schemas.openxmlformats.org/officeDocument/2006/relationships/vmlDrawing" Target="../drawings/vmlDrawing2.vml"/><Relationship Id="rId14" Type="http://schemas.openxmlformats.org/officeDocument/2006/relationships/image" Target="../media/image5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413772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1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9032875" y="0"/>
            <a:ext cx="107950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90716" y="6669360"/>
            <a:ext cx="539080" cy="196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lang="en-IN" sz="800" b="1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b="0" dirty="0" smtClean="0"/>
              <a:t>Slide </a:t>
            </a:r>
            <a:fld id="{1A578464-B7DE-4B2C-B6DC-457CA7F8F9DE}" type="slidenum">
              <a:rPr lang="en-IN" b="0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IN" b="0" dirty="0" smtClean="0"/>
              <a:t>,</a:t>
            </a:r>
            <a:endParaRPr lang="en-IN" b="0" dirty="0"/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539552" y="6669360"/>
            <a:ext cx="1512168" cy="216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lang="pt-BR" sz="800" b="1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b="0" dirty="0" smtClean="0"/>
              <a:t>Sep’16</a:t>
            </a:r>
            <a:endParaRPr lang="pt-BR" b="0" dirty="0"/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2771800" y="6669360"/>
            <a:ext cx="2808312" cy="216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lang="pt-BR" sz="800" b="1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b="0" dirty="0"/>
          </a:p>
        </p:txBody>
      </p:sp>
    </p:spTree>
    <p:extLst>
      <p:ext uri="{BB962C8B-B14F-4D97-AF65-F5344CB8AC3E}">
        <p14:creationId xmlns:p14="http://schemas.microsoft.com/office/powerpoint/2010/main" val="338094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8238"/>
        </a:buClr>
        <a:buSzPct val="85000"/>
        <a:buFont typeface="Wingdings" pitchFamily="2" charset="2"/>
        <a:buChar char="n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0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85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0824" y="358776"/>
            <a:ext cx="8292612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824" y="1152525"/>
            <a:ext cx="8292612" cy="4960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33797" name="Rectangle 5"/>
          <p:cNvSpPr>
            <a:spLocks noChangeArrowheads="1"/>
          </p:cNvSpPr>
          <p:nvPr/>
        </p:nvSpPr>
        <p:spPr bwMode="auto">
          <a:xfrm>
            <a:off x="-2931" y="358775"/>
            <a:ext cx="287215" cy="28733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62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3798" name="Rectangle 6"/>
          <p:cNvSpPr>
            <a:spLocks noChangeArrowheads="1"/>
          </p:cNvSpPr>
          <p:nvPr/>
        </p:nvSpPr>
        <p:spPr bwMode="auto">
          <a:xfrm>
            <a:off x="9032631" y="0"/>
            <a:ext cx="108438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62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19100" y="6550822"/>
            <a:ext cx="445951" cy="155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3200" rIns="0" bIns="0" numCol="1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38" dirty="0" smtClean="0">
                <a:solidFill>
                  <a:srgbClr val="777777"/>
                </a:solidFill>
                <a:cs typeface="Arial" charset="0"/>
              </a:rPr>
              <a:t>Slide </a:t>
            </a:r>
            <a:fld id="{0009A4E6-3A5A-4FDC-8851-8335463957E4}" type="slidenum">
              <a:rPr lang="en-US" sz="738" smtClean="0">
                <a:solidFill>
                  <a:srgbClr val="777777"/>
                </a:solidFill>
                <a:cs typeface="Arial" charset="0"/>
              </a:rPr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38" dirty="0">
              <a:solidFill>
                <a:srgbClr val="777777"/>
              </a:solidFill>
              <a:cs typeface="Arial" charset="0"/>
            </a:endParaRPr>
          </a:p>
        </p:txBody>
      </p:sp>
      <p:grpSp>
        <p:nvGrpSpPr>
          <p:cNvPr id="41" name="Group 40"/>
          <p:cNvGrpSpPr/>
          <p:nvPr userDrawn="1"/>
        </p:nvGrpSpPr>
        <p:grpSpPr>
          <a:xfrm>
            <a:off x="6057842" y="6411869"/>
            <a:ext cx="2771788" cy="231675"/>
            <a:chOff x="3169061" y="1500989"/>
            <a:chExt cx="5777981" cy="445794"/>
          </a:xfrm>
        </p:grpSpPr>
        <p:pic>
          <p:nvPicPr>
            <p:cNvPr id="42" name="Picture 41" descr="HeidelbergCement_Logo2.png"/>
            <p:cNvPicPr>
              <a:picLocks noChangeAspect="1"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3169061" y="1626083"/>
              <a:ext cx="2963645" cy="217465"/>
            </a:xfrm>
            <a:prstGeom prst="rect">
              <a:avLst/>
            </a:prstGeom>
          </p:spPr>
        </p:pic>
        <p:grpSp>
          <p:nvGrpSpPr>
            <p:cNvPr id="43" name="Group 21"/>
            <p:cNvGrpSpPr/>
            <p:nvPr/>
          </p:nvGrpSpPr>
          <p:grpSpPr>
            <a:xfrm>
              <a:off x="6334568" y="1500989"/>
              <a:ext cx="2612474" cy="445794"/>
              <a:chOff x="6341954" y="1176528"/>
              <a:chExt cx="3096614" cy="528408"/>
            </a:xfrm>
          </p:grpSpPr>
          <p:pic>
            <p:nvPicPr>
              <p:cNvPr id="44" name="Picture 4" descr="http://www.itcgr.bravosolution.com/images/logoITC.gif"/>
              <p:cNvPicPr>
                <a:picLocks noChangeAspect="1" noChangeArrowheads="1"/>
              </p:cNvPicPr>
              <p:nvPr/>
            </p:nvPicPr>
            <p:blipFill>
              <a:blip r:embed="rId14" cstate="print"/>
              <a:srcRect l="23561" t="13192" r="11951" b="52926"/>
              <a:stretch>
                <a:fillRect/>
              </a:stretch>
            </p:blipFill>
            <p:spPr bwMode="auto">
              <a:xfrm>
                <a:off x="6781424" y="1180711"/>
                <a:ext cx="2657144" cy="517066"/>
              </a:xfrm>
              <a:prstGeom prst="rect">
                <a:avLst/>
              </a:prstGeom>
              <a:noFill/>
            </p:spPr>
          </p:pic>
          <p:pic>
            <p:nvPicPr>
              <p:cNvPr id="45" name="Picture 6" descr="http://www.investireoggi.it/finanza/files/2013/03/italcementi.jpg"/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 t="29356" r="74098" b="25784"/>
              <a:stretch>
                <a:fillRect/>
              </a:stretch>
            </p:blipFill>
            <p:spPr bwMode="auto">
              <a:xfrm>
                <a:off x="6341954" y="1176528"/>
                <a:ext cx="446492" cy="528408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396486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</a:defRPr>
      </a:lvl5pPr>
      <a:lvl6pPr marL="422041"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</a:defRPr>
      </a:lvl6pPr>
      <a:lvl7pPr marL="844083"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</a:defRPr>
      </a:lvl7pPr>
      <a:lvl8pPr marL="1266124"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</a:defRPr>
      </a:lvl8pPr>
      <a:lvl9pPr marL="1688165"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defRPr sz="1477" b="1">
          <a:solidFill>
            <a:schemeClr val="tx1"/>
          </a:solidFill>
          <a:latin typeface="+mn-lt"/>
          <a:ea typeface="+mn-ea"/>
          <a:cs typeface="+mn-cs"/>
        </a:defRPr>
      </a:lvl1pPr>
      <a:lvl2pPr marL="398779" indent="-19939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85000"/>
        <a:buFont typeface="Wingdings" pitchFamily="2" charset="2"/>
        <a:buChar char=""/>
        <a:defRPr sz="1477">
          <a:solidFill>
            <a:schemeClr val="tx1"/>
          </a:solidFill>
          <a:latin typeface="+mn-lt"/>
        </a:defRPr>
      </a:lvl2pPr>
      <a:lvl3pPr marL="731095" indent="-19939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477">
          <a:solidFill>
            <a:schemeClr val="tx1"/>
          </a:solidFill>
          <a:latin typeface="+mn-lt"/>
        </a:defRPr>
      </a:lvl3pPr>
      <a:lvl4pPr marL="1063411" indent="-19939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477">
          <a:solidFill>
            <a:schemeClr val="tx1"/>
          </a:solidFill>
          <a:latin typeface="+mn-lt"/>
        </a:defRPr>
      </a:lvl4pPr>
      <a:lvl5pPr marL="1395727" indent="-19939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−"/>
        <a:defRPr sz="1477">
          <a:solidFill>
            <a:schemeClr val="tx1"/>
          </a:solidFill>
          <a:latin typeface="+mn-lt"/>
        </a:defRPr>
      </a:lvl5pPr>
      <a:lvl6pPr marL="2209855" indent="-21102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−"/>
        <a:defRPr sz="1108">
          <a:solidFill>
            <a:schemeClr val="tx1"/>
          </a:solidFill>
          <a:latin typeface="+mn-lt"/>
        </a:defRPr>
      </a:lvl6pPr>
      <a:lvl7pPr marL="2631897" indent="-21102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−"/>
        <a:defRPr sz="1108">
          <a:solidFill>
            <a:schemeClr val="tx1"/>
          </a:solidFill>
          <a:latin typeface="+mn-lt"/>
        </a:defRPr>
      </a:lvl7pPr>
      <a:lvl8pPr marL="3053938" indent="-21102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−"/>
        <a:defRPr sz="1108">
          <a:solidFill>
            <a:schemeClr val="tx1"/>
          </a:solidFill>
          <a:latin typeface="+mn-lt"/>
        </a:defRPr>
      </a:lvl8pPr>
      <a:lvl9pPr marL="3475979" indent="-21102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−"/>
        <a:defRPr sz="1108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auto">
          <a:xfrm>
            <a:off x="0" y="6381328"/>
            <a:ext cx="2441575" cy="4714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dirty="0"/>
          </a:p>
        </p:txBody>
      </p:sp>
      <p:sp>
        <p:nvSpPr>
          <p:cNvPr id="5123" name="Rectangle 3"/>
          <p:cNvSpPr>
            <a:spLocks noChangeArrowheads="1"/>
          </p:cNvSpPr>
          <p:nvPr/>
        </p:nvSpPr>
        <p:spPr bwMode="auto">
          <a:xfrm>
            <a:off x="504825" y="1082675"/>
            <a:ext cx="7918450" cy="982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eaLnBrk="1" hangingPunct="1"/>
            <a:endParaRPr lang="en-US" sz="2800" b="1" dirty="0">
              <a:solidFill>
                <a:srgbClr val="008238"/>
              </a:solidFill>
            </a:endParaRPr>
          </a:p>
        </p:txBody>
      </p:sp>
      <p:sp>
        <p:nvSpPr>
          <p:cNvPr id="20" name="Text Box 2"/>
          <p:cNvSpPr txBox="1">
            <a:spLocks noChangeArrowheads="1"/>
          </p:cNvSpPr>
          <p:nvPr/>
        </p:nvSpPr>
        <p:spPr bwMode="auto">
          <a:xfrm>
            <a:off x="395362" y="1196752"/>
            <a:ext cx="7993062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8238"/>
                </a:solidFill>
                <a:latin typeface="Arial" charset="0"/>
              </a:defRPr>
            </a:lvl1pPr>
          </a:lstStyle>
          <a:p>
            <a:r>
              <a:rPr lang="en-IN" altLang="en-US" dirty="0" smtClean="0">
                <a:latin typeface="+mn-lt"/>
              </a:rPr>
              <a:t>SFA- Request for Proposal </a:t>
            </a:r>
            <a:endParaRPr lang="de-DE" alt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047016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188640"/>
            <a:ext cx="8097838" cy="403473"/>
          </a:xfrm>
        </p:spPr>
        <p:txBody>
          <a:bodyPr/>
          <a:lstStyle/>
          <a:p>
            <a:r>
              <a:rPr lang="en-IN" dirty="0" smtClean="0"/>
              <a:t>Other Points</a:t>
            </a:r>
            <a:endParaRPr lang="en-IN" dirty="0"/>
          </a:p>
        </p:txBody>
      </p:sp>
      <p:sp>
        <p:nvSpPr>
          <p:cNvPr id="7" name="Rectangle 6"/>
          <p:cNvSpPr/>
          <p:nvPr/>
        </p:nvSpPr>
        <p:spPr bwMode="auto">
          <a:xfrm>
            <a:off x="251520" y="1041121"/>
            <a:ext cx="8064896" cy="4770537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Reports Dash Board for Sales Rep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Reports Dash Board for Sales Managers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Back Office should be in a position to view the Data in Web Interfaces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Server should he hosted Exclusively /cloud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Provision for online or Offline mode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Should be in position to notify the Sales Reps on any new policy/Promotions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Provision should be there to upload the Product Brochure in the backend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Provision should be for uploading &amp; viewing Quality Certificates in the backend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Date and Time Stamp for all Activities to be recorded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Automatic Capturing of Lat &amp; Long for all activities mentioned in the screens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Document/Photo Uploading feature in all screen mentioned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To identify in the Customer master any mandatory fields missing for the sales rep to gather the information and raise request for updating in the backend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Exception Reports in the Backend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Should support for multi Company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Reporting Hierarchy will be based on Each Company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All Masters will be Segregated based on Company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All Screens to be rendered  in Mobile  Form Factor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Android to be Platform </a:t>
            </a:r>
          </a:p>
        </p:txBody>
      </p:sp>
    </p:spTree>
    <p:extLst>
      <p:ext uri="{BB962C8B-B14F-4D97-AF65-F5344CB8AC3E}">
        <p14:creationId xmlns:p14="http://schemas.microsoft.com/office/powerpoint/2010/main" val="3556095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Login Page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592" y="620688"/>
            <a:ext cx="2878313" cy="4104456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323528" y="4869160"/>
            <a:ext cx="8064896" cy="156966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MEI Number Validation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Mobile Number Validation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User Id and Pwd validation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User blocking 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User Should be in a position to install the app OTA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Remote wiping of Data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6132" y="529691"/>
            <a:ext cx="2878313" cy="4195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73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188640"/>
            <a:ext cx="8097838" cy="403473"/>
          </a:xfrm>
        </p:spPr>
        <p:txBody>
          <a:bodyPr/>
          <a:lstStyle/>
          <a:p>
            <a:r>
              <a:rPr lang="en-IN" dirty="0" smtClean="0"/>
              <a:t>Account Information </a:t>
            </a:r>
            <a:endParaRPr lang="en-IN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251520" y="5306144"/>
            <a:ext cx="8064896" cy="116955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Only Customer relevant to the User should be displayed and</a:t>
            </a:r>
            <a:r>
              <a:rPr kumimoji="0" lang="en-US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no modification allowed </a:t>
            </a: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ales Rep</a:t>
            </a:r>
            <a:r>
              <a:rPr kumimoji="0" lang="en-US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Manager should be a position to view all his  Customers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400" baseline="0" dirty="0" smtClean="0">
                <a:latin typeface="Arial" charset="0"/>
              </a:rPr>
              <a:t>Reporting Hierarchy/</a:t>
            </a:r>
            <a:r>
              <a:rPr lang="en-US" sz="1400" dirty="0" smtClean="0">
                <a:latin typeface="Arial" charset="0"/>
              </a:rPr>
              <a:t> Location /Product/customer masters to be maintained and provision to upload in the back end manually or automated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400" dirty="0" smtClean="0">
                <a:latin typeface="Arial" charset="0"/>
              </a:rPr>
              <a:t>Provision to upload Customer data like volumes , Outstanding in the backend </a:t>
            </a: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777" y="592113"/>
            <a:ext cx="3633750" cy="456507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5936" y="592113"/>
            <a:ext cx="3633750" cy="456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42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188640"/>
            <a:ext cx="8097838" cy="403473"/>
          </a:xfrm>
        </p:spPr>
        <p:txBody>
          <a:bodyPr/>
          <a:lstStyle/>
          <a:p>
            <a:r>
              <a:rPr lang="en-IN" dirty="0" smtClean="0"/>
              <a:t>Visit Planning &amp; Reporting</a:t>
            </a:r>
            <a:endParaRPr lang="en-IN" dirty="0"/>
          </a:p>
        </p:txBody>
      </p:sp>
      <p:sp>
        <p:nvSpPr>
          <p:cNvPr id="9" name="Rectangle 8"/>
          <p:cNvSpPr/>
          <p:nvPr/>
        </p:nvSpPr>
        <p:spPr bwMode="auto">
          <a:xfrm>
            <a:off x="233362" y="4941168"/>
            <a:ext cx="8064896" cy="16004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ach Visit Cycle</a:t>
            </a:r>
            <a:r>
              <a:rPr kumimoji="0" lang="en-US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hould have a </a:t>
            </a:r>
            <a:r>
              <a:rPr lang="en-US" sz="1400" dirty="0" smtClean="0">
                <a:latin typeface="Arial" charset="0"/>
              </a:rPr>
              <a:t>unique ID system generated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Once Approved</a:t>
            </a:r>
            <a:r>
              <a:rPr kumimoji="0" lang="en-US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cannot be changed by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ales Rep</a:t>
            </a:r>
            <a:r>
              <a:rPr kumimoji="0" lang="en-US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400" dirty="0" smtClean="0">
                <a:latin typeface="Arial" charset="0"/>
              </a:rPr>
              <a:t>Sales Rep Manager should be in a position to approve or Reject on Rejection Sales Rep should be alerted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400" dirty="0" smtClean="0">
                <a:latin typeface="Arial" charset="0"/>
              </a:rPr>
              <a:t>Visit report data entry should be Geo Fenced within 100/200 mts of Customer GPS Co-ordinates and recorded with co-ordinates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ovision</a:t>
            </a:r>
            <a:r>
              <a:rPr kumimoji="0" lang="en-US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to be there to switch off/on on Geo Fencing for each user or on the company</a:t>
            </a: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5936" y="609016"/>
            <a:ext cx="3509438" cy="42601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686" y="592113"/>
            <a:ext cx="3614625" cy="4277049"/>
          </a:xfrm>
          <a:prstGeom prst="rect">
            <a:avLst/>
          </a:prstGeom>
        </p:spPr>
      </p:pic>
      <p:pic>
        <p:nvPicPr>
          <p:cNvPr id="147500" name="Picture 124" descr="Image result for home butt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875" y="47625"/>
            <a:ext cx="2952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7502" name="Picture 46" descr="SUBMIT &#10;&#10;&#10;SUBMIT FOR Approval 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38200" cy="257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5106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188640"/>
            <a:ext cx="8097838" cy="403473"/>
          </a:xfrm>
        </p:spPr>
        <p:txBody>
          <a:bodyPr/>
          <a:lstStyle/>
          <a:p>
            <a:r>
              <a:rPr lang="en-IN" dirty="0" smtClean="0"/>
              <a:t>Market Intelligence &amp; New Opportunities </a:t>
            </a:r>
            <a:endParaRPr lang="en-IN" dirty="0"/>
          </a:p>
        </p:txBody>
      </p:sp>
      <p:sp>
        <p:nvSpPr>
          <p:cNvPr id="8" name="Rectangle 7"/>
          <p:cNvSpPr/>
          <p:nvPr/>
        </p:nvSpPr>
        <p:spPr bwMode="auto">
          <a:xfrm>
            <a:off x="246575" y="4941168"/>
            <a:ext cx="8064896" cy="156966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ompetitors</a:t>
            </a:r>
            <a:r>
              <a:rPr kumimoji="0" lang="en-US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relevant to the locations only should be displayed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Activity Master, Competition/brand Masters to be maintained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Activity could be Campaigns, Discounts , Advt, Competitor ,Plant Shutdown, Stock non Available ,new dealer appointment, New Mktg officer appointment etc, should be definable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Prospect type – Infra, Builder, Dealer, Engineer, Architect, RMC, Pre-cast , etc., 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013" y="592113"/>
            <a:ext cx="3346875" cy="42050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4613" y="575417"/>
            <a:ext cx="3404250" cy="4221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000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188640"/>
            <a:ext cx="8097838" cy="403473"/>
          </a:xfrm>
        </p:spPr>
        <p:txBody>
          <a:bodyPr/>
          <a:lstStyle/>
          <a:p>
            <a:r>
              <a:rPr lang="en-IN" dirty="0" smtClean="0"/>
              <a:t>Cases &amp; Requests</a:t>
            </a:r>
            <a:endParaRPr lang="en-IN" dirty="0"/>
          </a:p>
        </p:txBody>
      </p:sp>
      <p:sp>
        <p:nvSpPr>
          <p:cNvPr id="8" name="Rectangle 7"/>
          <p:cNvSpPr/>
          <p:nvPr/>
        </p:nvSpPr>
        <p:spPr bwMode="auto">
          <a:xfrm>
            <a:off x="179512" y="5064278"/>
            <a:ext cx="8064896" cy="1354217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omplaints Types-</a:t>
            </a:r>
            <a:r>
              <a:rPr kumimoji="0" lang="en-US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ervice, Quality ,Logistics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Depending on Complaint Alert mails to be send to respective head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Requests could be various Types like Credit limit, price approval, discount approval and send to respective person for approval 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hange in customer for</a:t>
            </a:r>
            <a:r>
              <a:rPr kumimoji="0" lang="en-US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ex contact person /mobile number by Requests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725" y="592113"/>
            <a:ext cx="3404250" cy="434905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7700" y="592113"/>
            <a:ext cx="3346875" cy="4349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77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188640"/>
            <a:ext cx="8097838" cy="403473"/>
          </a:xfrm>
        </p:spPr>
        <p:txBody>
          <a:bodyPr/>
          <a:lstStyle/>
          <a:p>
            <a:r>
              <a:rPr lang="en-IN" dirty="0" smtClean="0"/>
              <a:t>Approval &amp; Order Booking</a:t>
            </a:r>
            <a:endParaRPr lang="en-IN" dirty="0"/>
          </a:p>
        </p:txBody>
      </p:sp>
      <p:sp>
        <p:nvSpPr>
          <p:cNvPr id="8" name="Rectangle 7"/>
          <p:cNvSpPr/>
          <p:nvPr/>
        </p:nvSpPr>
        <p:spPr bwMode="auto">
          <a:xfrm>
            <a:off x="241085" y="4869160"/>
            <a:ext cx="8064896" cy="16004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All pending approval for the managers should list and should be in a position to open each and approve or Rejection upon which the status should be updated in the respective request or reports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Order booked alert should be sent a designated id based on Customer Locations for further action  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4785" y="554013"/>
            <a:ext cx="3480750" cy="403736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310" y="574111"/>
            <a:ext cx="3480750" cy="4055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672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188640"/>
            <a:ext cx="8097838" cy="403473"/>
          </a:xfrm>
        </p:spPr>
        <p:txBody>
          <a:bodyPr/>
          <a:lstStyle/>
          <a:p>
            <a:r>
              <a:rPr lang="en-IN" dirty="0" smtClean="0"/>
              <a:t>Travel Expense &amp; Attendance</a:t>
            </a:r>
            <a:endParaRPr lang="en-IN" dirty="0"/>
          </a:p>
        </p:txBody>
      </p:sp>
      <p:sp>
        <p:nvSpPr>
          <p:cNvPr id="7" name="Rectangle 6"/>
          <p:cNvSpPr/>
          <p:nvPr/>
        </p:nvSpPr>
        <p:spPr bwMode="auto">
          <a:xfrm>
            <a:off x="179512" y="5517232"/>
            <a:ext cx="8064896" cy="861774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All Travel Expenses should be submitted for approval as per the workflow set and should be a positon to fix norms as per grade /locations /mode etc.,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Synchronize Data is for updating the data to server and vice versa 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611147"/>
            <a:ext cx="3509438" cy="466639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5644" y="611147"/>
            <a:ext cx="3346875" cy="4666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467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188640"/>
            <a:ext cx="8097838" cy="403473"/>
          </a:xfrm>
        </p:spPr>
        <p:txBody>
          <a:bodyPr/>
          <a:lstStyle/>
          <a:p>
            <a:r>
              <a:rPr lang="en-IN" dirty="0" smtClean="0"/>
              <a:t>Product Brochures &amp; Quality Certificates</a:t>
            </a:r>
            <a:endParaRPr lang="en-IN" dirty="0"/>
          </a:p>
        </p:txBody>
      </p:sp>
      <p:sp>
        <p:nvSpPr>
          <p:cNvPr id="7" name="Rectangle 6"/>
          <p:cNvSpPr/>
          <p:nvPr/>
        </p:nvSpPr>
        <p:spPr bwMode="auto">
          <a:xfrm>
            <a:off x="179512" y="5655731"/>
            <a:ext cx="8064896" cy="58477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1600" dirty="0" smtClean="0">
                <a:latin typeface="Arial" charset="0"/>
              </a:rPr>
              <a:t>Should be in a position to View &amp; send the Product Brochure/Quality Certificate by email 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8" y="611147"/>
            <a:ext cx="3385125" cy="476206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3968" y="592113"/>
            <a:ext cx="3385125" cy="4781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439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9.43636536097401550000E+000&quot;&gt;&lt;m_msothmcolidx val=&quot;0&quot;/&gt;&lt;m_rgb r=&quot;00&quot; g=&quot;82&quot; b=&quot;38&quot;/&gt;&lt;m_nBrightness val=&quot;0&quot;/&gt;&lt;/elem&gt;&lt;elem m_fUsage=&quot;5.63620738180748430000E-001&quot;&gt;&lt;m_msothmcolidx val=&quot;0&quot;/&gt;&lt;m_rgb r=&quot;FF&quot; g=&quot;00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oup_Template">
  <a:themeElements>
    <a:clrScheme name="Group_Template 13">
      <a:dk1>
        <a:srgbClr val="000000"/>
      </a:dk1>
      <a:lt1>
        <a:srgbClr val="FFFFFF"/>
      </a:lt1>
      <a:dk2>
        <a:srgbClr val="007C36"/>
      </a:dk2>
      <a:lt2>
        <a:srgbClr val="777777"/>
      </a:lt2>
      <a:accent1>
        <a:srgbClr val="C0C0C0"/>
      </a:accent1>
      <a:accent2>
        <a:srgbClr val="74B690"/>
      </a:accent2>
      <a:accent3>
        <a:srgbClr val="FFFFFF"/>
      </a:accent3>
      <a:accent4>
        <a:srgbClr val="000000"/>
      </a:accent4>
      <a:accent5>
        <a:srgbClr val="DCDCDC"/>
      </a:accent5>
      <a:accent6>
        <a:srgbClr val="68A582"/>
      </a:accent6>
      <a:hlink>
        <a:srgbClr val="6386C1"/>
      </a:hlink>
      <a:folHlink>
        <a:srgbClr val="0D386F"/>
      </a:folHlink>
    </a:clrScheme>
    <a:fontScheme name="Group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roup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3">
        <a:dk1>
          <a:srgbClr val="000000"/>
        </a:dk1>
        <a:lt1>
          <a:srgbClr val="FFFFFF"/>
        </a:lt1>
        <a:dk2>
          <a:srgbClr val="007C36"/>
        </a:dk2>
        <a:lt2>
          <a:srgbClr val="777777"/>
        </a:lt2>
        <a:accent1>
          <a:srgbClr val="C0C0C0"/>
        </a:accent1>
        <a:accent2>
          <a:srgbClr val="74B690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68A582"/>
        </a:accent6>
        <a:hlink>
          <a:srgbClr val="6386C1"/>
        </a:hlink>
        <a:folHlink>
          <a:srgbClr val="0D38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">
      <a:dk1>
        <a:srgbClr val="000000"/>
      </a:dk1>
      <a:lt1>
        <a:srgbClr val="FFFFFF"/>
      </a:lt1>
      <a:dk2>
        <a:srgbClr val="008238"/>
      </a:dk2>
      <a:lt2>
        <a:srgbClr val="777777"/>
      </a:lt2>
      <a:accent1>
        <a:srgbClr val="E2E2E2"/>
      </a:accent1>
      <a:accent2>
        <a:srgbClr val="C9E5D5"/>
      </a:accent2>
      <a:accent3>
        <a:srgbClr val="FFFFFF"/>
      </a:accent3>
      <a:accent4>
        <a:srgbClr val="000000"/>
      </a:accent4>
      <a:accent5>
        <a:srgbClr val="EEEEEE"/>
      </a:accent5>
      <a:accent6>
        <a:srgbClr val="B6CFC1"/>
      </a:accent6>
      <a:hlink>
        <a:srgbClr val="37B382"/>
      </a:hlink>
      <a:folHlink>
        <a:srgbClr val="7CC4A0"/>
      </a:folHlink>
    </a:clrScheme>
    <a:fontScheme name="1_Group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200" i="0" dirty="0" err="1" smtClean="0"/>
        </a:defPPr>
      </a:lstStyle>
    </a:txDef>
  </a:objectDefaults>
  <a:extraClrSchemeLst>
    <a:extraClrScheme>
      <a:clrScheme name="1_Group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roup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roup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roup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roup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roup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roup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roup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roup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roup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roup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roup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roup_Template 13">
        <a:dk1>
          <a:srgbClr val="000000"/>
        </a:dk1>
        <a:lt1>
          <a:srgbClr val="FFFFFF"/>
        </a:lt1>
        <a:dk2>
          <a:srgbClr val="007C36"/>
        </a:dk2>
        <a:lt2>
          <a:srgbClr val="777777"/>
        </a:lt2>
        <a:accent1>
          <a:srgbClr val="C0C0C0"/>
        </a:accent1>
        <a:accent2>
          <a:srgbClr val="74B690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68A582"/>
        </a:accent6>
        <a:hlink>
          <a:srgbClr val="6386C1"/>
        </a:hlink>
        <a:folHlink>
          <a:srgbClr val="0D386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roup_Template 14">
        <a:dk1>
          <a:srgbClr val="000000"/>
        </a:dk1>
        <a:lt1>
          <a:srgbClr val="FFFFFF"/>
        </a:lt1>
        <a:dk2>
          <a:srgbClr val="008238"/>
        </a:dk2>
        <a:lt2>
          <a:srgbClr val="777777"/>
        </a:lt2>
        <a:accent1>
          <a:srgbClr val="C0C0C0"/>
        </a:accent1>
        <a:accent2>
          <a:srgbClr val="74B690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68A582"/>
        </a:accent6>
        <a:hlink>
          <a:srgbClr val="6386C1"/>
        </a:hlink>
        <a:folHlink>
          <a:srgbClr val="0D386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roup_Template 15">
        <a:dk1>
          <a:srgbClr val="000000"/>
        </a:dk1>
        <a:lt1>
          <a:srgbClr val="FFFFFF"/>
        </a:lt1>
        <a:dk2>
          <a:srgbClr val="008238"/>
        </a:dk2>
        <a:lt2>
          <a:srgbClr val="777777"/>
        </a:lt2>
        <a:accent1>
          <a:srgbClr val="008238"/>
        </a:accent1>
        <a:accent2>
          <a:srgbClr val="B0DCAE"/>
        </a:accent2>
        <a:accent3>
          <a:srgbClr val="FFFFFF"/>
        </a:accent3>
        <a:accent4>
          <a:srgbClr val="000000"/>
        </a:accent4>
        <a:accent5>
          <a:srgbClr val="AAC1AE"/>
        </a:accent5>
        <a:accent6>
          <a:srgbClr val="9FC79D"/>
        </a:accent6>
        <a:hlink>
          <a:srgbClr val="828282"/>
        </a:hlink>
        <a:folHlink>
          <a:srgbClr val="C8C8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roup_Template 16">
        <a:dk1>
          <a:srgbClr val="000000"/>
        </a:dk1>
        <a:lt1>
          <a:srgbClr val="FFFFFF"/>
        </a:lt1>
        <a:dk2>
          <a:srgbClr val="008238"/>
        </a:dk2>
        <a:lt2>
          <a:srgbClr val="777777"/>
        </a:lt2>
        <a:accent1>
          <a:srgbClr val="008238"/>
        </a:accent1>
        <a:accent2>
          <a:srgbClr val="B0DCAE"/>
        </a:accent2>
        <a:accent3>
          <a:srgbClr val="FFFFFF"/>
        </a:accent3>
        <a:accent4>
          <a:srgbClr val="000000"/>
        </a:accent4>
        <a:accent5>
          <a:srgbClr val="AAC1AE"/>
        </a:accent5>
        <a:accent6>
          <a:srgbClr val="9FC79D"/>
        </a:accent6>
        <a:hlink>
          <a:srgbClr val="C8C8C8"/>
        </a:hlink>
        <a:folHlink>
          <a:srgbClr val="82828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Blank.potx" id="{6296F3A4-1234-496B-90EC-B903BBAA49EF}" vid="{B4274298-ECD1-4578-B916-5B8348FFB50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14</TotalTime>
  <Words>590</Words>
  <Application>Microsoft Office PowerPoint</Application>
  <PresentationFormat>On-screen Show (4:3)</PresentationFormat>
  <Paragraphs>56</Paragraphs>
  <Slides>1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Group_Template</vt:lpstr>
      <vt:lpstr>Blank</vt:lpstr>
      <vt:lpstr>think-cell Slide</vt:lpstr>
      <vt:lpstr>PowerPoint Presentation</vt:lpstr>
      <vt:lpstr>Login Page</vt:lpstr>
      <vt:lpstr>Account Information </vt:lpstr>
      <vt:lpstr>Visit Planning &amp; Reporting</vt:lpstr>
      <vt:lpstr>Market Intelligence &amp; New Opportunities </vt:lpstr>
      <vt:lpstr>Cases &amp; Requests</vt:lpstr>
      <vt:lpstr>Approval &amp; Order Booking</vt:lpstr>
      <vt:lpstr>Travel Expense &amp; Attendance</vt:lpstr>
      <vt:lpstr>Product Brochures &amp; Quality Certificates</vt:lpstr>
      <vt:lpstr>Other Points</vt:lpstr>
    </vt:vector>
  </TitlesOfParts>
  <Company>HeidelbergCement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it Angra</dc:creator>
  <cp:lastModifiedBy>w2s 2ws</cp:lastModifiedBy>
  <cp:revision>3553</cp:revision>
  <cp:lastPrinted>2016-09-09T10:42:52Z</cp:lastPrinted>
  <dcterms:created xsi:type="dcterms:W3CDTF">2013-10-28T09:53:44Z</dcterms:created>
  <dcterms:modified xsi:type="dcterms:W3CDTF">2016-11-17T10:27:38Z</dcterms:modified>
</cp:coreProperties>
</file>